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304" r:id="rId2"/>
    <p:sldId id="316" r:id="rId3"/>
    <p:sldId id="279" r:id="rId4"/>
    <p:sldId id="322" r:id="rId5"/>
    <p:sldId id="291" r:id="rId6"/>
    <p:sldId id="292" r:id="rId7"/>
    <p:sldId id="324" r:id="rId8"/>
    <p:sldId id="305" r:id="rId9"/>
    <p:sldId id="319" r:id="rId10"/>
    <p:sldId id="309" r:id="rId11"/>
    <p:sldId id="321" r:id="rId12"/>
    <p:sldId id="297" r:id="rId13"/>
    <p:sldId id="317" r:id="rId14"/>
    <p:sldId id="298" r:id="rId15"/>
    <p:sldId id="323" r:id="rId16"/>
    <p:sldId id="256" r:id="rId17"/>
    <p:sldId id="275" r:id="rId18"/>
    <p:sldId id="273" r:id="rId19"/>
    <p:sldId id="274" r:id="rId20"/>
    <p:sldId id="320" r:id="rId21"/>
    <p:sldId id="312" r:id="rId22"/>
    <p:sldId id="314" r:id="rId23"/>
    <p:sldId id="259" r:id="rId24"/>
    <p:sldId id="315" r:id="rId25"/>
    <p:sldId id="302" r:id="rId26"/>
    <p:sldId id="325" r:id="rId27"/>
    <p:sldId id="303" r:id="rId28"/>
  </p:sldIdLst>
  <p:sldSz cx="12192000" cy="6858000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9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estion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8987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089799" y="337352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3953714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4817629" y="337109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3464180" y="355465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3015202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3236990" y="253543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4284834" y="2530596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4080680" y="267689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4322848" y="355344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6853857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7717772" y="336866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8581687" y="336866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7228238" y="355223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7844738" y="2674469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8086906" y="355101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05711" y="2206947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243" y="221989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4799" y="222165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1687" y="222634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7230813" y="246028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8094257" y="245906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6827734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8714360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6976059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1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C131F9-B5BA-0BC9-4403-DE7D505C1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437" y="1747624"/>
            <a:ext cx="9763125" cy="3751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2972435" y="2589111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3096571" y="38319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960486" y="38295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824401" y="38295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470952" y="40131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3235377" y="3218724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4954894" y="3207638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4329620" y="40119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60957" y="2680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97513" y="26825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824401" y="26872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473527" y="29211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4336971" y="29199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854577" y="38780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718492" y="387561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582407" y="387561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7228958" y="40591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845458" y="318141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8087626" y="40579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963" y="272683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5519" y="27286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2407" y="273328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7231533" y="2967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8094977" y="2966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720315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982014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4093933" y="3216539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3045039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6793731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3440180" y="2261904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4946816" y="1653496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5315741" y="2654580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2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6E8A7E-A551-63D3-2835-5FFB0CE728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8966" y="1724653"/>
            <a:ext cx="9494067" cy="426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181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7242123" y="1972482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6600533" y="2427125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7681916" y="2403431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7467152" y="2597387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2521" y="2149686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2668515" y="400480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532430" y="400237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396345" y="40023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042896" y="41859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901564" y="41847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32901" y="285359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69457" y="285536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96345" y="286005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045471" y="309399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908915" y="309277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426521" y="405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290436" y="404842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154351" y="404842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800902" y="423198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417402" y="335422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7659570" y="423077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0907" y="289964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7463" y="290141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54351" y="290609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803477" y="31400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7666921" y="31388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292259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553958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2609477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6492318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7379936" y="1364967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748861" y="2366051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3665792" y="331487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4540649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802348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5E2C725A-2CE6-F275-E205-74C6F64A0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3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49ACF3-3930-2235-D72E-C6C34356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6541" y="1513318"/>
            <a:ext cx="9359960" cy="434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Network Component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BAAC5F-6A4E-12CA-810B-A48578892E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23358"/>
            <a:ext cx="10515600" cy="4753605"/>
          </a:xfrm>
        </p:spPr>
        <p:txBody>
          <a:bodyPr/>
          <a:lstStyle/>
          <a:p>
            <a:r>
              <a:rPr lang="en-US" dirty="0"/>
              <a:t>Different components by different communities</a:t>
            </a:r>
          </a:p>
          <a:p>
            <a:r>
              <a:rPr lang="en-US" dirty="0"/>
              <a:t>SDN Controller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Daylight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yu</a:t>
            </a:r>
          </a:p>
          <a:p>
            <a:r>
              <a:rPr lang="en-US" dirty="0"/>
              <a:t>Open vSwitch</a:t>
            </a:r>
          </a:p>
          <a:p>
            <a:r>
              <a:rPr lang="en-US" dirty="0"/>
              <a:t>OpenFlow protocol</a:t>
            </a:r>
          </a:p>
          <a:p>
            <a:r>
              <a:rPr lang="en-US" dirty="0"/>
              <a:t>Emulated environm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414" y="1925844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323" y="2976873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577" y="3938088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8387" y="2012657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488" y="3320144"/>
            <a:ext cx="2336704" cy="96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60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60524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2085922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566601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33034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784093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520906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500158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F5F61A7-FE84-6598-59BE-869F5AE4D4D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NOS Controller</a:t>
            </a:r>
            <a:endParaRPr lang="en-DE" sz="36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6E9CE2-28BC-788D-80E4-EA7F78211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8855" y="1219557"/>
            <a:ext cx="8054289" cy="4782435"/>
          </a:xfrm>
          <a:prstGeom prst="rect">
            <a:avLst/>
          </a:prstGeom>
        </p:spPr>
      </p:pic>
      <p:pic>
        <p:nvPicPr>
          <p:cNvPr id="1026" name="Picture 2" descr="ONOS - Wikipedia">
            <a:extLst>
              <a:ext uri="{FF2B5EF4-FFF2-40B4-BE49-F238E27FC236}">
                <a16:creationId xmlns:a16="http://schemas.microsoft.com/office/drawing/2014/main" id="{A4ED0EE1-BF67-E16B-4D16-A782E860D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837" y="168606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3072997" y="13013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3072997" y="17099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3072997" y="21185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3072997" y="49178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3072997" y="53264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5495196" y="20737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3291456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7310838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5301147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3072997" y="45092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AE2736-120C-FF00-B794-3476E345D6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Daylight Controller</a:t>
            </a:r>
            <a:endParaRPr lang="en-DE" sz="36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37203AD-6430-174A-23D4-9BB9A134A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743" y="1224207"/>
            <a:ext cx="7428513" cy="5092364"/>
          </a:xfrm>
          <a:prstGeom prst="rect">
            <a:avLst/>
          </a:prstGeom>
        </p:spPr>
      </p:pic>
      <p:pic>
        <p:nvPicPr>
          <p:cNvPr id="2050" name="Picture 2" descr="OpenDaylight Project - Wikipedia">
            <a:extLst>
              <a:ext uri="{FF2B5EF4-FFF2-40B4-BE49-F238E27FC236}">
                <a16:creationId xmlns:a16="http://schemas.microsoft.com/office/drawing/2014/main" id="{88CBABC9-CB6C-8E79-1417-B98EEAA56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256" y="185033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OpenDaylight Project - Wikipedia">
            <a:extLst>
              <a:ext uri="{FF2B5EF4-FFF2-40B4-BE49-F238E27FC236}">
                <a16:creationId xmlns:a16="http://schemas.microsoft.com/office/drawing/2014/main" id="{EA11B802-3478-8BF6-D19E-1F8460659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256" y="169131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3208990" y="162285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3208990" y="202733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3208990" y="243181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3208990" y="48183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3208990" y="522279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5562718" y="242388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3541464" y="278224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3541464" y="312022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3541464" y="345821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6590897" y="345821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D6C0B8-7EC1-A902-B14B-5FF4A774C5E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Ryu Controller</a:t>
            </a:r>
            <a:endParaRPr lang="en-DE" sz="36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1DD254-A371-CD60-B784-E9349C6A3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9630" y="1144966"/>
            <a:ext cx="8632740" cy="5347909"/>
          </a:xfrm>
          <a:prstGeom prst="rect">
            <a:avLst/>
          </a:prstGeom>
        </p:spPr>
      </p:pic>
      <p:pic>
        <p:nvPicPr>
          <p:cNvPr id="3074" name="Picture 2" descr="Ryu SDN Framework">
            <a:extLst>
              <a:ext uri="{FF2B5EF4-FFF2-40B4-BE49-F238E27FC236}">
                <a16:creationId xmlns:a16="http://schemas.microsoft.com/office/drawing/2014/main" id="{5F1E4C77-1F51-A0E9-01F3-8CE64E742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007" y="147797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5461267" y="4062655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s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4418345" y="2689988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-vswitchd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624682" y="2675135"/>
            <a:ext cx="1220202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db-serv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4418339" y="1431818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5030862" y="1885939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  <a:stCxn id="20" idx="0"/>
            <a:endCxn id="10" idx="0"/>
          </p:cNvCxnSpPr>
          <p:nvPr/>
        </p:nvCxnSpPr>
        <p:spPr>
          <a:xfrm>
            <a:off x="5638548" y="1663534"/>
            <a:ext cx="2596235" cy="101160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4151560" y="2003682"/>
            <a:ext cx="927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penFlow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2998598" y="2512100"/>
            <a:ext cx="8681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User Space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84E0EB-647D-069E-24E3-4672B514490B}"/>
              </a:ext>
            </a:extLst>
          </p:cNvPr>
          <p:cNvSpPr/>
          <p:nvPr/>
        </p:nvSpPr>
        <p:spPr>
          <a:xfrm>
            <a:off x="3572312" y="4062655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Kernel modu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7267D7B5-B51F-78CF-16C6-BCB7A23A7EC4}"/>
              </a:ext>
            </a:extLst>
          </p:cNvPr>
          <p:cNvCxnSpPr>
            <a:cxnSpLocks/>
            <a:endCxn id="22" idx="0"/>
          </p:cNvCxnSpPr>
          <p:nvPr/>
        </p:nvCxnSpPr>
        <p:spPr>
          <a:xfrm rot="5400000">
            <a:off x="4144229" y="3296791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F30953D9-24AE-02B6-AB99-56BE8D53BB4B}"/>
              </a:ext>
            </a:extLst>
          </p:cNvPr>
          <p:cNvCxnSpPr>
            <a:cxnSpLocks/>
          </p:cNvCxnSpPr>
          <p:nvPr/>
        </p:nvCxnSpPr>
        <p:spPr>
          <a:xfrm rot="16200000" flipV="1">
            <a:off x="5107839" y="3299402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9466226-64A5-9344-4965-CCA2ABFF8221}"/>
              </a:ext>
            </a:extLst>
          </p:cNvPr>
          <p:cNvSpPr txBox="1"/>
          <p:nvPr/>
        </p:nvSpPr>
        <p:spPr>
          <a:xfrm>
            <a:off x="6594001" y="1779062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06C6A1B-EA40-A834-4041-304853618BAA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>
            <a:off x="5638548" y="2959444"/>
            <a:ext cx="1986134" cy="1485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EBEDBF5-1BFE-514B-FC52-409DB43CAF6C}"/>
              </a:ext>
            </a:extLst>
          </p:cNvPr>
          <p:cNvSpPr txBox="1"/>
          <p:nvPr/>
        </p:nvSpPr>
        <p:spPr>
          <a:xfrm>
            <a:off x="5810049" y="2953354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5229CD-81E5-AE78-12A1-865327BCDE2B}"/>
              </a:ext>
            </a:extLst>
          </p:cNvPr>
          <p:cNvSpPr txBox="1"/>
          <p:nvPr/>
        </p:nvSpPr>
        <p:spPr>
          <a:xfrm>
            <a:off x="4207912" y="3411711"/>
            <a:ext cx="7094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Netlink</a:t>
            </a:r>
            <a:endParaRPr lang="en-DE" sz="1400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1FA58BD-4611-8E35-4554-48152030D4DC}"/>
              </a:ext>
            </a:extLst>
          </p:cNvPr>
          <p:cNvCxnSpPr/>
          <p:nvPr/>
        </p:nvCxnSpPr>
        <p:spPr>
          <a:xfrm flipV="1">
            <a:off x="3079817" y="2464623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66B377A-DE6C-409E-A5CF-AA1364527F98}"/>
              </a:ext>
            </a:extLst>
          </p:cNvPr>
          <p:cNvCxnSpPr/>
          <p:nvPr/>
        </p:nvCxnSpPr>
        <p:spPr>
          <a:xfrm flipV="1">
            <a:off x="3079817" y="3429000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ADB8B9C6-32DC-F2E1-D6A1-61344FCEDC17}"/>
              </a:ext>
            </a:extLst>
          </p:cNvPr>
          <p:cNvCxnSpPr>
            <a:cxnSpLocks/>
            <a:stCxn id="4" idx="1"/>
            <a:endCxn id="22" idx="3"/>
          </p:cNvCxnSpPr>
          <p:nvPr/>
        </p:nvCxnSpPr>
        <p:spPr>
          <a:xfrm flipH="1">
            <a:off x="4792515" y="4346964"/>
            <a:ext cx="668752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Top Corners Snipped 47">
            <a:extLst>
              <a:ext uri="{FF2B5EF4-FFF2-40B4-BE49-F238E27FC236}">
                <a16:creationId xmlns:a16="http://schemas.microsoft.com/office/drawing/2014/main" id="{BC514921-06CE-37E2-7AF9-D91A7081A391}"/>
              </a:ext>
            </a:extLst>
          </p:cNvPr>
          <p:cNvSpPr/>
          <p:nvPr/>
        </p:nvSpPr>
        <p:spPr>
          <a:xfrm>
            <a:off x="3329931" y="5217354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In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49" name="Rectangle: Top Corners Snipped 48">
            <a:extLst>
              <a:ext uri="{FF2B5EF4-FFF2-40B4-BE49-F238E27FC236}">
                <a16:creationId xmlns:a16="http://schemas.microsoft.com/office/drawing/2014/main" id="{CB6FAE98-7E95-025A-70D4-7ED0C198F7C8}"/>
              </a:ext>
            </a:extLst>
          </p:cNvPr>
          <p:cNvSpPr/>
          <p:nvPr/>
        </p:nvSpPr>
        <p:spPr>
          <a:xfrm>
            <a:off x="4320681" y="5218952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Out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1FD181F3-402D-3691-BBB6-7E6065CEDB74}"/>
              </a:ext>
            </a:extLst>
          </p:cNvPr>
          <p:cNvCxnSpPr>
            <a:cxnSpLocks/>
            <a:stCxn id="48" idx="3"/>
          </p:cNvCxnSpPr>
          <p:nvPr/>
        </p:nvCxnSpPr>
        <p:spPr>
          <a:xfrm rot="5400000" flipH="1" flipV="1">
            <a:off x="3567186" y="4761818"/>
            <a:ext cx="586081" cy="324992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C00290AC-4CCF-C38B-585C-C55F214CB9DE}"/>
              </a:ext>
            </a:extLst>
          </p:cNvPr>
          <p:cNvCxnSpPr>
            <a:cxnSpLocks/>
            <a:endCxn id="49" idx="3"/>
          </p:cNvCxnSpPr>
          <p:nvPr/>
        </p:nvCxnSpPr>
        <p:spPr>
          <a:xfrm rot="16200000" flipH="1">
            <a:off x="4230001" y="4760473"/>
            <a:ext cx="590594" cy="326364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D9014E64-ACD5-FBE1-7457-08EB2497576E}"/>
              </a:ext>
            </a:extLst>
          </p:cNvPr>
          <p:cNvSpPr txBox="1"/>
          <p:nvPr/>
        </p:nvSpPr>
        <p:spPr>
          <a:xfrm>
            <a:off x="3019867" y="3459483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ernel</a:t>
            </a:r>
            <a:endParaRPr lang="en-DE" sz="1200" i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73F27AE-C89E-59F5-3DBC-8D87152B259B}"/>
              </a:ext>
            </a:extLst>
          </p:cNvPr>
          <p:cNvSpPr txBox="1"/>
          <p:nvPr/>
        </p:nvSpPr>
        <p:spPr>
          <a:xfrm>
            <a:off x="2998598" y="2235351"/>
            <a:ext cx="1027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Management</a:t>
            </a:r>
            <a:endParaRPr lang="en-DE" sz="1200" i="1" dirty="0"/>
          </a:p>
        </p:txBody>
      </p:sp>
      <p:pic>
        <p:nvPicPr>
          <p:cNvPr id="5122" name="Picture 2" descr="Open vSwitch - Wikipedia">
            <a:extLst>
              <a:ext uri="{FF2B5EF4-FFF2-40B4-BE49-F238E27FC236}">
                <a16:creationId xmlns:a16="http://schemas.microsoft.com/office/drawing/2014/main" id="{27F8C9F5-1CA1-E459-AC6D-758377008E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5243" y="279254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2DD81D-D3D7-9793-014A-FB24D703B957}"/>
              </a:ext>
            </a:extLst>
          </p:cNvPr>
          <p:cNvSpPr txBox="1"/>
          <p:nvPr/>
        </p:nvSpPr>
        <p:spPr>
          <a:xfrm>
            <a:off x="1808913" y="4208464"/>
            <a:ext cx="768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dpctl</a:t>
            </a:r>
            <a:endParaRPr lang="en-DE" sz="1200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50D6A9-E90F-B5B7-0A23-BE77630B7662}"/>
              </a:ext>
            </a:extLst>
          </p:cNvPr>
          <p:cNvSpPr txBox="1"/>
          <p:nvPr/>
        </p:nvSpPr>
        <p:spPr>
          <a:xfrm>
            <a:off x="10072909" y="2814854"/>
            <a:ext cx="1671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db-tool and ovs-vsctl</a:t>
            </a:r>
            <a:endParaRPr lang="en-DE" sz="12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A0DEC2-B371-95BD-AB1C-D3B54D0C0C28}"/>
              </a:ext>
            </a:extLst>
          </p:cNvPr>
          <p:cNvSpPr txBox="1"/>
          <p:nvPr/>
        </p:nvSpPr>
        <p:spPr>
          <a:xfrm>
            <a:off x="1283253" y="2854313"/>
            <a:ext cx="1689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ofctl and ovs-appctl </a:t>
            </a:r>
            <a:endParaRPr lang="en-DE" sz="1200" i="1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827287-91BE-2204-D218-19785CE989F9}"/>
              </a:ext>
            </a:extLst>
          </p:cNvPr>
          <p:cNvCxnSpPr>
            <a:cxnSpLocks/>
            <a:stCxn id="2" idx="3"/>
          </p:cNvCxnSpPr>
          <p:nvPr/>
        </p:nvCxnSpPr>
        <p:spPr>
          <a:xfrm flipV="1">
            <a:off x="2577778" y="4346963"/>
            <a:ext cx="934807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F475F70-030A-0412-6565-56DE1A47B28B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972626" y="2992813"/>
            <a:ext cx="135500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9E6F365-4A0C-16D9-CF87-F1495FF3088A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8922756" y="2953354"/>
            <a:ext cx="1150153" cy="12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BEEA6F19-115F-9F01-8557-D6FBD0272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5243" y="263352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flow rul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6164497" y="2883821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6546867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8688352" y="3192378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9481139" y="3192378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6280586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334672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9182098" y="436220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7577052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5922117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10109915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7334672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8364857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8924368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8549158" y="4414329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6043875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7328949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6774750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7798418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6814500" y="2433889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8978157" y="2631634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7919246" y="4934471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9082818" y="2927395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6744041" y="3573451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Flow Protocol</a:t>
            </a:r>
            <a:endParaRPr lang="en-DE" sz="3600" b="1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E5AC92A3-74DF-F83B-A569-6F489C07CE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486" y="161950"/>
            <a:ext cx="2336704" cy="960032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F720064-DC61-EE42-D3C9-B5FF064386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29536" y="1786912"/>
            <a:ext cx="3542489" cy="40820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BI protoc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major rele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component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Flow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Group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Meter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Control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ee Message type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Controller-to-switch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Asynchronou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Symmetric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027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3595"/>
          </a:xfrm>
        </p:spPr>
        <p:txBody>
          <a:bodyPr>
            <a:normAutofit/>
          </a:bodyPr>
          <a:lstStyle/>
          <a:p>
            <a:r>
              <a:rPr lang="en-US" sz="3600" dirty="0"/>
              <a:t>SDN network emulators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GNS3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ent part: The GNS3-all-in-one software (GUI)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er part: The GNS3 virtual machine (GNS3 VM)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mplements easy to access network topolog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Pre-configured and optimised appliances available to simplify deployment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vailability of in-built software packages such as Wireshark and Putt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upports sharing of implemented network including the device configuration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Limitation of CPU and memory resources provided by the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The software images of the network devices are required to be purchased and downloaded by the user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BBF3A9-595E-719E-574D-05079701D6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Mininet</a:t>
            </a:r>
          </a:p>
          <a:p>
            <a:pPr>
              <a:buFont typeface="Wingdings" panose="05000000000000000000" pitchFamily="2" charset="2"/>
              <a:buChar char="v"/>
            </a:pPr>
            <a:endParaRPr lang="en-DE" dirty="0"/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very fast and takes very little time for boot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easy to install and us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saves money because the emulators are cost-effective instead of testing with hardware device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also very easy to connect with other network devices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eployed network elements cannot exceed the CPU and bandwidth available on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ingle server implementation gave rise to the performance problem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Mininet hosts share the host file system and PID space, a careful assessment of running daemons is required for process of debugg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863366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low Rule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5940"/>
            <a:ext cx="10515600" cy="5021023"/>
          </a:xfrm>
        </p:spPr>
        <p:txBody>
          <a:bodyPr/>
          <a:lstStyle/>
          <a:p>
            <a:r>
              <a:rPr lang="en-US" dirty="0"/>
              <a:t>Forwarding flow rules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  <a:endParaRPr lang="en-DE" dirty="0"/>
          </a:p>
          <a:p>
            <a:pPr marL="0" indent="0">
              <a:buNone/>
            </a:pPr>
            <a:r>
              <a:rPr lang="en-US" dirty="0"/>
              <a:t> 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60B65B1-1C65-0AC8-12E9-E1E05E624F37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872665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2196481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4331452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4303574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4303574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2705165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4295526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4288997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3398716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4288997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357082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351639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2283635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955550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3627516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2425357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FB5873-94E9-030B-2D69-8156F1F9C80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1727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cket transmission through flow tables within an Open vSwitch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Creation of Intents</a:t>
            </a:r>
            <a:endParaRPr lang="en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7698"/>
            <a:ext cx="10515600" cy="4969265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US" b="0" i="0" dirty="0">
                <a:effectLst/>
              </a:rPr>
              <a:t>olicy-based directives</a:t>
            </a:r>
          </a:p>
          <a:p>
            <a:r>
              <a:rPr lang="en-US" dirty="0"/>
              <a:t>Intent Framework is a subsystem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4BAA83-109C-D0F4-DB01-AC17A1E5B74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0848294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8BB90-1B7A-EDA0-AE12-2FC7DADC6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859" y="1654982"/>
            <a:ext cx="9072282" cy="47163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7563F1-5EF6-0A38-ADED-B7DA272E464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4005805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5052074" y="2662750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467127" y="2001857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811720" y="3767257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3145941" y="3285809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25842" y="3269083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3861617" y="2698270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6175281" y="2633091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998622" y="3774784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7610485" y="3257445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3130025" y="2063675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362873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569672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56074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49275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317475" y="2300121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264507" y="2300121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738287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279794" y="212802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474421" y="212346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685540" y="211778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80568" y="159175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67068" y="1586110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474257" y="1601357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58147" y="159705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358242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565041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51443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944644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275582" y="336605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680477" y="334435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841103" y="356737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569328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509239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369114" y="35518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483383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681040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520243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727061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112733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71326" y="1815791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159026" y="214344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8847" y="3036570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3152867" y="336945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6877" y="4255500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34925" y="351771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2545" y="1879557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930833" y="211651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6837" y="3100451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935125" y="333741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2006" y="4341096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6549999" y="352453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330816" y="230588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521654" y="229116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2544592" y="1591751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2507987" y="3598951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176418" y="4800808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8570499" y="1591751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8595601" y="3552149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263747" y="4800808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D2D2B4CC-8414-9770-37CC-2B5E6411AC0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Created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37539764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pic>
        <p:nvPicPr>
          <p:cNvPr id="2" name="Graphic 1" descr="Envelope with solid fill">
            <a:extLst>
              <a:ext uri="{FF2B5EF4-FFF2-40B4-BE49-F238E27FC236}">
                <a16:creationId xmlns:a16="http://schemas.microsoft.com/office/drawing/2014/main" id="{F30453E5-4DF5-49B2-C594-8F28E56F4C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4" name="Graphic 3" descr="Envelope with solid fill">
            <a:extLst>
              <a:ext uri="{FF2B5EF4-FFF2-40B4-BE49-F238E27FC236}">
                <a16:creationId xmlns:a16="http://schemas.microsoft.com/office/drawing/2014/main" id="{B57BB0B7-D900-F709-04F5-0F77F178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6" name="Graphic 5" descr="Envelope with solid fill">
            <a:extLst>
              <a:ext uri="{FF2B5EF4-FFF2-40B4-BE49-F238E27FC236}">
                <a16:creationId xmlns:a16="http://schemas.microsoft.com/office/drawing/2014/main" id="{9E7A39F2-F467-CEB1-1922-C85F1777A8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84732" y="2221504"/>
            <a:ext cx="300958" cy="300958"/>
          </a:xfrm>
          <a:prstGeom prst="rect">
            <a:avLst/>
          </a:prstGeom>
        </p:spPr>
      </p:pic>
      <p:pic>
        <p:nvPicPr>
          <p:cNvPr id="7" name="Graphic 6" descr="Envelope with solid fill">
            <a:extLst>
              <a:ext uri="{FF2B5EF4-FFF2-40B4-BE49-F238E27FC236}">
                <a16:creationId xmlns:a16="http://schemas.microsoft.com/office/drawing/2014/main" id="{16A5408E-9135-22CE-4E98-EA049F5DEA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8" name="Graphic 7" descr="Envelope with solid fill">
            <a:extLst>
              <a:ext uri="{FF2B5EF4-FFF2-40B4-BE49-F238E27FC236}">
                <a16:creationId xmlns:a16="http://schemas.microsoft.com/office/drawing/2014/main" id="{18BB9845-C2CD-6C10-AC4F-4DA8E162B0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06310" y="2109983"/>
            <a:ext cx="300958" cy="300958"/>
          </a:xfrm>
          <a:prstGeom prst="rect">
            <a:avLst/>
          </a:prstGeom>
        </p:spPr>
      </p:pic>
      <p:pic>
        <p:nvPicPr>
          <p:cNvPr id="10" name="Graphic 9" descr="Envelope with solid fill">
            <a:extLst>
              <a:ext uri="{FF2B5EF4-FFF2-40B4-BE49-F238E27FC236}">
                <a16:creationId xmlns:a16="http://schemas.microsoft.com/office/drawing/2014/main" id="{B017625D-2ECC-8623-E061-F5ACCBF9AC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12" name="Graphic 11" descr="Envelope with solid fill">
            <a:extLst>
              <a:ext uri="{FF2B5EF4-FFF2-40B4-BE49-F238E27FC236}">
                <a16:creationId xmlns:a16="http://schemas.microsoft.com/office/drawing/2014/main" id="{0C94BC97-14D2-7F83-0079-8E44D37D96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3" name="Graphic 12" descr="Envelope with solid fill">
            <a:extLst>
              <a:ext uri="{FF2B5EF4-FFF2-40B4-BE49-F238E27FC236}">
                <a16:creationId xmlns:a16="http://schemas.microsoft.com/office/drawing/2014/main" id="{45970D7D-CF63-3705-042B-56AC416DA8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14" name="Graphic 13" descr="Envelope with solid fill">
            <a:extLst>
              <a:ext uri="{FF2B5EF4-FFF2-40B4-BE49-F238E27FC236}">
                <a16:creationId xmlns:a16="http://schemas.microsoft.com/office/drawing/2014/main" id="{9E076A6F-E4AE-D2C9-AC1D-7D7D17E371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5" name="Graphic 14" descr="Envelope with solid fill">
            <a:extLst>
              <a:ext uri="{FF2B5EF4-FFF2-40B4-BE49-F238E27FC236}">
                <a16:creationId xmlns:a16="http://schemas.microsoft.com/office/drawing/2014/main" id="{5615A36B-A101-41FD-6B5A-CAF25F4893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16" name="Graphic 15" descr="Envelope with solid fill">
            <a:extLst>
              <a:ext uri="{FF2B5EF4-FFF2-40B4-BE49-F238E27FC236}">
                <a16:creationId xmlns:a16="http://schemas.microsoft.com/office/drawing/2014/main" id="{88FE9936-1CB5-EEA0-7824-4D44B598D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7" name="Graphic 16" descr="Envelope with solid fill">
            <a:extLst>
              <a:ext uri="{FF2B5EF4-FFF2-40B4-BE49-F238E27FC236}">
                <a16:creationId xmlns:a16="http://schemas.microsoft.com/office/drawing/2014/main" id="{8FF4F5D4-F621-A92F-A460-7F08B7A1C6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9" name="Graphic 18" descr="Envelope with solid fill">
            <a:extLst>
              <a:ext uri="{FF2B5EF4-FFF2-40B4-BE49-F238E27FC236}">
                <a16:creationId xmlns:a16="http://schemas.microsoft.com/office/drawing/2014/main" id="{87A65784-97C5-6D51-8940-50DA930F1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0733" y="4995457"/>
            <a:ext cx="300958" cy="300958"/>
          </a:xfrm>
          <a:prstGeom prst="rect">
            <a:avLst/>
          </a:prstGeom>
        </p:spPr>
      </p:pic>
      <p:pic>
        <p:nvPicPr>
          <p:cNvPr id="20" name="Graphic 19" descr="Envelope with solid fill">
            <a:extLst>
              <a:ext uri="{FF2B5EF4-FFF2-40B4-BE49-F238E27FC236}">
                <a16:creationId xmlns:a16="http://schemas.microsoft.com/office/drawing/2014/main" id="{D3474072-5583-9689-78A9-684CB53AC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07982" y="4995457"/>
            <a:ext cx="300958" cy="300958"/>
          </a:xfrm>
          <a:prstGeom prst="rect">
            <a:avLst/>
          </a:prstGeom>
        </p:spPr>
      </p:pic>
      <p:pic>
        <p:nvPicPr>
          <p:cNvPr id="21" name="Graphic 20" descr="Envelope with solid fill">
            <a:extLst>
              <a:ext uri="{FF2B5EF4-FFF2-40B4-BE49-F238E27FC236}">
                <a16:creationId xmlns:a16="http://schemas.microsoft.com/office/drawing/2014/main" id="{7841AF6F-C165-2B0E-938E-7CEE178B89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57213" y="5145936"/>
            <a:ext cx="300958" cy="300958"/>
          </a:xfrm>
          <a:prstGeom prst="rect">
            <a:avLst/>
          </a:prstGeom>
        </p:spPr>
      </p:pic>
      <p:pic>
        <p:nvPicPr>
          <p:cNvPr id="23" name="Graphic 22" descr="Envelope with solid fill">
            <a:extLst>
              <a:ext uri="{FF2B5EF4-FFF2-40B4-BE49-F238E27FC236}">
                <a16:creationId xmlns:a16="http://schemas.microsoft.com/office/drawing/2014/main" id="{A57DE7CA-61F6-8137-E499-BAF7CAD4ED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24" name="Graphic 23" descr="Envelope with solid fill">
            <a:extLst>
              <a:ext uri="{FF2B5EF4-FFF2-40B4-BE49-F238E27FC236}">
                <a16:creationId xmlns:a16="http://schemas.microsoft.com/office/drawing/2014/main" id="{8110AB14-DE2F-9426-BFD9-F96B8D59F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25" name="Graphic 24" descr="Envelope with solid fill">
            <a:extLst>
              <a:ext uri="{FF2B5EF4-FFF2-40B4-BE49-F238E27FC236}">
                <a16:creationId xmlns:a16="http://schemas.microsoft.com/office/drawing/2014/main" id="{DC584E63-5FE1-0B26-6EB5-7233B7CF2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26" name="Graphic 25" descr="Envelope with solid fill">
            <a:extLst>
              <a:ext uri="{FF2B5EF4-FFF2-40B4-BE49-F238E27FC236}">
                <a16:creationId xmlns:a16="http://schemas.microsoft.com/office/drawing/2014/main" id="{30C02A10-017C-10DF-B901-9E0772B6E2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28" name="Graphic 27" descr="Envelope with solid fill">
            <a:extLst>
              <a:ext uri="{FF2B5EF4-FFF2-40B4-BE49-F238E27FC236}">
                <a16:creationId xmlns:a16="http://schemas.microsoft.com/office/drawing/2014/main" id="{F2D0B62F-0A6A-EF5F-36FE-F1315F30A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2462"/>
            <a:ext cx="300958" cy="300958"/>
          </a:xfrm>
          <a:prstGeom prst="rect">
            <a:avLst/>
          </a:prstGeom>
        </p:spPr>
      </p:pic>
      <p:pic>
        <p:nvPicPr>
          <p:cNvPr id="29" name="Graphic 28" descr="Envelope with solid fill">
            <a:extLst>
              <a:ext uri="{FF2B5EF4-FFF2-40B4-BE49-F238E27FC236}">
                <a16:creationId xmlns:a16="http://schemas.microsoft.com/office/drawing/2014/main" id="{DC59E3B3-9AF9-AB95-446B-28AF5C18B6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30" name="Graphic 29" descr="Envelope with solid fill">
            <a:extLst>
              <a:ext uri="{FF2B5EF4-FFF2-40B4-BE49-F238E27FC236}">
                <a16:creationId xmlns:a16="http://schemas.microsoft.com/office/drawing/2014/main" id="{067D4023-8CC9-0969-A896-529FB6E2D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31" name="Graphic 30" descr="Envelope with solid fill">
            <a:extLst>
              <a:ext uri="{FF2B5EF4-FFF2-40B4-BE49-F238E27FC236}">
                <a16:creationId xmlns:a16="http://schemas.microsoft.com/office/drawing/2014/main" id="{371B69B9-F327-7FCD-09CF-1AE95E39D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5949" y="4990197"/>
            <a:ext cx="300958" cy="300958"/>
          </a:xfrm>
          <a:prstGeom prst="rect">
            <a:avLst/>
          </a:prstGeom>
        </p:spPr>
      </p:pic>
      <p:pic>
        <p:nvPicPr>
          <p:cNvPr id="32" name="Graphic 31" descr="Envelope with solid fill">
            <a:extLst>
              <a:ext uri="{FF2B5EF4-FFF2-40B4-BE49-F238E27FC236}">
                <a16:creationId xmlns:a16="http://schemas.microsoft.com/office/drawing/2014/main" id="{0CDD2FBC-F662-9579-5C76-3414E41127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13198" y="4990197"/>
            <a:ext cx="300958" cy="300958"/>
          </a:xfrm>
          <a:prstGeom prst="rect">
            <a:avLst/>
          </a:prstGeom>
        </p:spPr>
      </p:pic>
      <p:pic>
        <p:nvPicPr>
          <p:cNvPr id="34" name="Graphic 33" descr="Envelope with solid fill">
            <a:extLst>
              <a:ext uri="{FF2B5EF4-FFF2-40B4-BE49-F238E27FC236}">
                <a16:creationId xmlns:a16="http://schemas.microsoft.com/office/drawing/2014/main" id="{CCFEE357-1873-3116-243C-B400A4A203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4713"/>
            <a:ext cx="300958" cy="300958"/>
          </a:xfrm>
          <a:prstGeom prst="rect">
            <a:avLst/>
          </a:prstGeom>
        </p:spPr>
      </p:pic>
      <p:pic>
        <p:nvPicPr>
          <p:cNvPr id="35" name="Graphic 34" descr="Envelope with solid fill">
            <a:extLst>
              <a:ext uri="{FF2B5EF4-FFF2-40B4-BE49-F238E27FC236}">
                <a16:creationId xmlns:a16="http://schemas.microsoft.com/office/drawing/2014/main" id="{A21F579E-F6D9-3617-2FD7-AD099C9DD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ED28E90-848B-11CA-AF04-F8411C6C5035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09585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1.48148E-6 L -0.12839 0.43565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19" y="2178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2.22222E-6 L 0.09375 0.0986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88" y="4931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22" dur="20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82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56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1.85185E-6 L -0.11628 -0.42662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20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24 0.01505 L -0.11628 -0.42662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32" y="-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07407E-6 L 0.17748 0.00092 " pathEditMode="fixed" rAng="0" ptsTypes="AA">
                                      <p:cBhvr>
                                        <p:cTn id="5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1.11111E-6 L -0.19166 -1.11111E-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32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576 -0.42662 L 0.00052 -1.85185E-6 " pathEditMode="relative" rAng="0" ptsTypes="AA">
                                      <p:cBhvr>
                                        <p:cTn id="58" dur="20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07" y="2131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51 0.44166 L -3.75E-6 -1.48148E-6 " pathEditMode="relative" rAng="0" ptsTypes="AA">
                                      <p:cBhvr>
                                        <p:cTn id="62" dur="2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64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99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96296E-6 L -0.18281 0.00324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15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11 0.02315 L 0.18959 0.02407 " pathEditMode="fixed" rAng="0" ptsTypes="AA">
                                      <p:cBhvr>
                                        <p:cTn id="9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4.81481E-6 L -0.19166 4.81481E-6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83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18281 0.00325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41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926491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2519540" y="2279895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2505166" y="4288762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168397" y="549061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8562478" y="2276339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8587580" y="4240280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255726" y="5488176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5044053" y="3352561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459106" y="2748607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803699" y="4457068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3137920" y="3975620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17821" y="3958894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3853596" y="3388081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6167260" y="3322902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990601" y="4464595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7602464" y="3947256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3130116" y="2743214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354852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561651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48053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41254" y="26604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309454" y="3024119"/>
            <a:ext cx="849292" cy="86619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256486" y="3024119"/>
            <a:ext cx="897629" cy="9162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732031" y="3029423"/>
            <a:ext cx="17122" cy="84760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271773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466400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677519" y="2833251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72547" y="22815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59047" y="227592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466236" y="2291168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50126" y="2286865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350221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557020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43422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936623" y="38811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267561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672456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833082" y="425718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561307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501218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361093" y="424167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endCxn id="85" idx="6"/>
          </p:cNvCxnSpPr>
          <p:nvPr/>
        </p:nvCxnSpPr>
        <p:spPr>
          <a:xfrm flipH="1" flipV="1">
            <a:off x="5472409" y="3033243"/>
            <a:ext cx="900582" cy="87493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571" idx="1"/>
            <a:endCxn id="25" idx="10"/>
          </p:cNvCxnSpPr>
          <p:nvPr/>
        </p:nvCxnSpPr>
        <p:spPr>
          <a:xfrm flipH="1" flipV="1">
            <a:off x="6670084" y="3024119"/>
            <a:ext cx="888504" cy="91467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598" idx="4"/>
            <a:endCxn id="25" idx="9"/>
          </p:cNvCxnSpPr>
          <p:nvPr/>
        </p:nvCxnSpPr>
        <p:spPr>
          <a:xfrm flipV="1">
            <a:off x="5516253" y="3024119"/>
            <a:ext cx="849292" cy="8586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542" idx="4"/>
            <a:endCxn id="53" idx="9"/>
          </p:cNvCxnSpPr>
          <p:nvPr/>
        </p:nvCxnSpPr>
        <p:spPr>
          <a:xfrm flipV="1">
            <a:off x="6723052" y="3024119"/>
            <a:ext cx="849292" cy="85864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115844" y="3038689"/>
            <a:ext cx="7755" cy="838343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3305" y="2505602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151005" y="2833251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0826" y="3726381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144846" y="4043244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08856" y="4945311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33784" y="4253070"/>
            <a:ext cx="12007" cy="84155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34524" y="2603706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922812" y="2833251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38816" y="3824485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927104" y="4043244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985" y="5030907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6548708" y="4253070"/>
            <a:ext cx="12157" cy="848373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322660" y="3029423"/>
            <a:ext cx="19022" cy="8533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515594" y="3035995"/>
            <a:ext cx="16926" cy="83207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2520563" y="2284112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2505166" y="4288762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168397" y="5490619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8562478" y="2281562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8587580" y="4241960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255726" y="549061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96E72F0-460C-659E-3925-B4706CB3F4B0}"/>
              </a:ext>
            </a:extLst>
          </p:cNvPr>
          <p:cNvCxnSpPr>
            <a:cxnSpLocks/>
          </p:cNvCxnSpPr>
          <p:nvPr/>
        </p:nvCxnSpPr>
        <p:spPr>
          <a:xfrm flipV="1">
            <a:off x="5461380" y="404324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3082533" y="2556252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3059596" y="3766293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7585" y="485456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8030212" y="2486850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8016009" y="373853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565457" y="4854566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05" name="Picture 204">
            <a:extLst>
              <a:ext uri="{FF2B5EF4-FFF2-40B4-BE49-F238E27FC236}">
                <a16:creationId xmlns:a16="http://schemas.microsoft.com/office/drawing/2014/main" id="{99EFC5B7-E5D8-9C5D-7DE5-B5CA92EF62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0180" y="1628533"/>
            <a:ext cx="9194382" cy="486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3" grpId="0" animBg="1"/>
      <p:bldP spid="654" grpId="0" animBg="1"/>
      <p:bldP spid="655" grpId="0" animBg="1"/>
      <p:bldP spid="656" grpId="0" animBg="1"/>
      <p:bldP spid="657" grpId="0" animBg="1"/>
      <p:bldP spid="661" grpId="0" animBg="1"/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757894" y="2973523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132508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54217" y="5607102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26278" y="4672212"/>
            <a:ext cx="386231" cy="70368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68219" y="1358018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74286" y="286862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42950" y="25700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98622" y="292337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325472" cy="3144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4</Words>
  <Application>Microsoft Office PowerPoint</Application>
  <PresentationFormat>Widescreen</PresentationFormat>
  <Paragraphs>322</Paragraphs>
  <Slides>27</Slides>
  <Notes>0</Notes>
  <HiddenSlides>16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Courier New</vt:lpstr>
      <vt:lpstr>Symbol</vt:lpstr>
      <vt:lpstr>Times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ank you!</vt:lpstr>
      <vt:lpstr>Different SDN Architectures (1/3)</vt:lpstr>
      <vt:lpstr>Different SDN Architectures (2/3)</vt:lpstr>
      <vt:lpstr>Different SDN Architectures (3/3)</vt:lpstr>
      <vt:lpstr>SDN Network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DN network emulators</vt:lpstr>
      <vt:lpstr>Flow Rules</vt:lpstr>
      <vt:lpstr>PowerPoint Presentation</vt:lpstr>
      <vt:lpstr>Creation of Intent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97</cp:revision>
  <dcterms:created xsi:type="dcterms:W3CDTF">2022-07-08T09:27:23Z</dcterms:created>
  <dcterms:modified xsi:type="dcterms:W3CDTF">2022-10-29T16:43:11Z</dcterms:modified>
</cp:coreProperties>
</file>